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83" r:id="rId2"/>
    <p:sldId id="284" r:id="rId3"/>
    <p:sldId id="285" r:id="rId4"/>
    <p:sldId id="286" r:id="rId5"/>
    <p:sldId id="287" r:id="rId6"/>
    <p:sldId id="289" r:id="rId7"/>
    <p:sldId id="290" r:id="rId8"/>
    <p:sldId id="292" r:id="rId9"/>
    <p:sldId id="291" r:id="rId10"/>
    <p:sldId id="293" r:id="rId11"/>
    <p:sldId id="294" r:id="rId12"/>
    <p:sldId id="295" r:id="rId13"/>
    <p:sldId id="296" r:id="rId14"/>
    <p:sldId id="297" r:id="rId15"/>
    <p:sldId id="309" r:id="rId16"/>
    <p:sldId id="298" r:id="rId17"/>
    <p:sldId id="299" r:id="rId18"/>
    <p:sldId id="302" r:id="rId19"/>
    <p:sldId id="301" r:id="rId20"/>
    <p:sldId id="303" r:id="rId21"/>
    <p:sldId id="304" r:id="rId22"/>
    <p:sldId id="305" r:id="rId23"/>
    <p:sldId id="306" r:id="rId24"/>
    <p:sldId id="308" r:id="rId25"/>
    <p:sldId id="307" r:id="rId26"/>
  </p:sldIdLst>
  <p:sldSz cx="12192000" cy="6858000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shen(沈力)" initials="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4EF4"/>
    <a:srgbClr val="5B9BD5"/>
    <a:srgbClr val="FFE699"/>
    <a:srgbClr val="FFC000"/>
    <a:srgbClr val="070DF4"/>
    <a:srgbClr val="C8DFFC"/>
    <a:srgbClr val="3C6CB2"/>
    <a:srgbClr val="5F9DD6"/>
    <a:srgbClr val="FFB7FF"/>
    <a:srgbClr val="FF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 autoAdjust="0"/>
    <p:restoredTop sz="77755" autoAdjust="0"/>
  </p:normalViewPr>
  <p:slideViewPr>
    <p:cSldViewPr snapToGrid="0">
      <p:cViewPr varScale="1">
        <p:scale>
          <a:sx n="77" d="100"/>
          <a:sy n="77" d="100"/>
        </p:scale>
        <p:origin x="132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391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70D959-3EDB-478E-A573-C74BBB4EFF89}" type="datetimeFigureOut">
              <a:rPr lang="en-US" smtClean="0"/>
              <a:t>1/5/2021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2D2FB-CE26-4271-8148-5520D25917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6457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8B6276-286A-4E07-B4D0-CC53B4CAB03E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B14803-88FA-4216-B67A-C1342FB631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1990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291" y="149806"/>
            <a:ext cx="10515600" cy="46166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en-US" sz="2400" b="1" kern="12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90" y="1044390"/>
            <a:ext cx="10809509" cy="5081202"/>
          </a:xfrm>
        </p:spPr>
        <p:txBody>
          <a:bodyPr/>
          <a:lstStyle>
            <a:lvl1pPr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 marL="685800" indent="-228600">
              <a:buSzPct val="75000"/>
              <a:buFont typeface="Wingdings" panose="05000000000000000000" pitchFamily="2" charset="2"/>
              <a:buChar char="Ø"/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>
                <a:latin typeface="等线" panose="02010600030101010101" pitchFamily="2" charset="-122"/>
                <a:ea typeface="等线" panose="02010600030101010101" pitchFamily="2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44290" y="6356350"/>
            <a:ext cx="2743200" cy="365125"/>
          </a:xfrm>
        </p:spPr>
        <p:txBody>
          <a:bodyPr/>
          <a:lstStyle/>
          <a:p>
            <a:fld id="{C764DE79-268F-4C1A-8933-263129D2AF90}" type="datetimeFigureOut">
              <a:rPr lang="en-US" dirty="0"/>
              <a:t>1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91645" y="6356350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291" y="149806"/>
            <a:ext cx="10515600" cy="46166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en-US" sz="2400" b="1" kern="12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等线" panose="02010600030101010101" pitchFamily="2" charset="-122"/>
                <a:ea typeface="等线" panose="02010600030101010101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5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1C59-37D9-4D84-BF5C-0BC5213C51E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31E1B-D7D6-4B9B-A428-EFCC136C9F8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80000"/>
            <a:ext cx="7200000" cy="432000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F2D9C-CF34-4B8F-996F-630BD0D9346F}" type="datetimeFigureOut">
              <a:rPr lang="en-US" smtClean="0"/>
              <a:t>1/5/2021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082D5-8846-4C79-A566-BE1ACDDA6A6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8" name="think-cell Slide" r:id="rId11" imgW="12700" imgH="12700" progId="TCLayout.ActiveDocument.1">
                  <p:embed/>
                </p:oleObj>
              </mc:Choice>
              <mc:Fallback>
                <p:oleObj name="think-cell Slide" r:id="rId11" imgW="12700" imgH="1270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" r="83"/>
          <a:stretch>
            <a:fillRect/>
          </a:stretch>
        </p:blipFill>
        <p:spPr>
          <a:xfrm>
            <a:off x="0" y="0"/>
            <a:ext cx="12192000" cy="807720"/>
          </a:xfrm>
          <a:prstGeom prst="rect">
            <a:avLst/>
          </a:prstGeom>
        </p:spPr>
      </p:pic>
      <p:sp>
        <p:nvSpPr>
          <p:cNvPr id="10" name="矩形 9"/>
          <p:cNvSpPr/>
          <p:nvPr userDrawn="1"/>
        </p:nvSpPr>
        <p:spPr>
          <a:xfrm>
            <a:off x="0" y="30733"/>
            <a:ext cx="12192000" cy="67760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9398862" y="242245"/>
            <a:ext cx="2677864" cy="242420"/>
            <a:chOff x="8168150" y="96945"/>
            <a:chExt cx="2607300" cy="236032"/>
          </a:xfrm>
        </p:grpSpPr>
        <p:pic>
          <p:nvPicPr>
            <p:cNvPr id="13" name="图片 12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91305" y="96945"/>
              <a:ext cx="1284145" cy="236032"/>
            </a:xfrm>
            <a:prstGeom prst="rect">
              <a:avLst/>
            </a:prstGeom>
          </p:spPr>
        </p:pic>
        <p:pic>
          <p:nvPicPr>
            <p:cNvPr id="11" name="image1.png"/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8168150" y="137566"/>
              <a:ext cx="1125933" cy="144601"/>
            </a:xfrm>
            <a:prstGeom prst="rect">
              <a:avLst/>
            </a:prstGeom>
            <a:ln w="12700">
              <a:miter lim="400000"/>
              <a:headEnd/>
              <a:tailEnd/>
            </a:ln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2B0D26DC-5C9B-40E8-B178-5D847056AAA9}"/>
              </a:ext>
            </a:extLst>
          </p:cNvPr>
          <p:cNvSpPr txBox="1"/>
          <p:nvPr/>
        </p:nvSpPr>
        <p:spPr>
          <a:xfrm>
            <a:off x="10628259" y="6112997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 err="1"/>
              <a:t>Zehao</a:t>
            </a:r>
            <a:r>
              <a:rPr lang="en-US" altLang="zh-CN" dirty="0"/>
              <a:t> Yu</a:t>
            </a:r>
          </a:p>
          <a:p>
            <a:pPr algn="ctr"/>
            <a:r>
              <a:rPr lang="en-US" altLang="zh-CN" dirty="0"/>
              <a:t>06/01/2021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3BC86F6-9A3A-4D25-B47A-E3C7934D4B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42564"/>
            <a:ext cx="12192000" cy="313695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2B79508B-DC55-4931-8779-047240F0D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663" y="3996171"/>
            <a:ext cx="10191750" cy="219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38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47962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This Work – System Design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737DB0B-15AC-4F71-96BA-3166817871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57866"/>
            <a:ext cx="12192000" cy="464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922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596509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Modular Primitives – Rasterization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77E745C-92E3-4553-946C-FD33CBFDC92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615"/>
          <a:stretch/>
        </p:blipFill>
        <p:spPr>
          <a:xfrm>
            <a:off x="482051" y="2518173"/>
            <a:ext cx="7658447" cy="4055039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F15D214F-7F60-4B06-B3CB-1E3156E402B4}"/>
              </a:ext>
            </a:extLst>
          </p:cNvPr>
          <p:cNvSpPr/>
          <p:nvPr/>
        </p:nvSpPr>
        <p:spPr>
          <a:xfrm>
            <a:off x="224442" y="980404"/>
            <a:ext cx="1216983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lt"/>
              </a:rPr>
              <a:t>Input: vertex positions of clip-space</a:t>
            </a:r>
          </a:p>
          <a:p>
            <a:r>
              <a:rPr lang="en-US" altLang="zh-CN" sz="2400" dirty="0">
                <a:latin typeface="+mj-lt"/>
              </a:rPr>
              <a:t>Output: face index, barycentric coordinate, Jacobian of barycentric </a:t>
            </a:r>
            <a:r>
              <a:rPr lang="en-US" altLang="zh-CN" sz="2400" dirty="0" err="1">
                <a:latin typeface="+mj-lt"/>
              </a:rPr>
              <a:t>w.r.t.</a:t>
            </a:r>
            <a:r>
              <a:rPr lang="en-US" altLang="zh-CN" sz="2400" dirty="0">
                <a:latin typeface="+mj-lt"/>
              </a:rPr>
              <a:t> screen coordinates</a:t>
            </a:r>
          </a:p>
          <a:p>
            <a:endParaRPr lang="en-US" altLang="zh-CN" sz="2400" dirty="0">
              <a:latin typeface="+mj-lt"/>
            </a:endParaRPr>
          </a:p>
          <a:p>
            <a:r>
              <a:rPr lang="en-US" altLang="zh-CN" sz="2400" dirty="0">
                <a:latin typeface="+mj-lt"/>
              </a:rPr>
              <a:t>Use </a:t>
            </a:r>
            <a:r>
              <a:rPr lang="en-US" altLang="zh-CN" sz="2400" b="1" dirty="0">
                <a:latin typeface="+mj-lt"/>
              </a:rPr>
              <a:t>OpenGL and</a:t>
            </a:r>
            <a:r>
              <a:rPr lang="en-US" altLang="zh-CN" sz="2400" b="1" dirty="0"/>
              <a:t> hardware graphics pipeline </a:t>
            </a:r>
            <a:r>
              <a:rPr lang="en-US" altLang="zh-CN" sz="2400" dirty="0"/>
              <a:t>ensures that the rasterization is accurate and fast</a:t>
            </a:r>
            <a:endParaRPr lang="zh-CN" altLang="en-US" sz="2400" dirty="0">
              <a:latin typeface="+mj-lt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AE7D465-DF24-412A-9B44-82A3049AD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8068" y="4115293"/>
            <a:ext cx="3076575" cy="561975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4A16594B-AF87-4B05-864C-A98C0F210CDA}"/>
              </a:ext>
            </a:extLst>
          </p:cNvPr>
          <p:cNvSpPr/>
          <p:nvPr/>
        </p:nvSpPr>
        <p:spPr>
          <a:xfrm>
            <a:off x="8348339" y="4677268"/>
            <a:ext cx="34387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/>
              <a:t>(useful for texture lookup)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803919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59170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Modular Primitives – Interpolation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88F1A00-04F7-49AB-971C-743DE61E90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4304" y="1811401"/>
            <a:ext cx="5006685" cy="503759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5A56C6D5-52CF-4AC2-A12E-FC317AE3DAA9}"/>
              </a:ext>
            </a:extLst>
          </p:cNvPr>
          <p:cNvSpPr/>
          <p:nvPr/>
        </p:nvSpPr>
        <p:spPr>
          <a:xfrm>
            <a:off x="224443" y="980404"/>
            <a:ext cx="105183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lt"/>
              </a:rPr>
              <a:t>Input: barycentric coordinate (u, v, </a:t>
            </a:r>
            <a:r>
              <a:rPr lang="en-US" altLang="zh-CN" sz="2400" dirty="0" err="1">
                <a:latin typeface="+mj-lt"/>
              </a:rPr>
              <a:t>faceid</a:t>
            </a:r>
            <a:r>
              <a:rPr lang="en-US" altLang="zh-CN" sz="2400" dirty="0">
                <a:latin typeface="+mj-lt"/>
              </a:rPr>
              <a:t>) of pixel and vertex attribute</a:t>
            </a:r>
          </a:p>
          <a:p>
            <a:r>
              <a:rPr lang="en-US" altLang="zh-CN" sz="2400" dirty="0">
                <a:latin typeface="+mj-lt"/>
              </a:rPr>
              <a:t>Output: Interpolated attributes at pixel</a:t>
            </a:r>
            <a:endParaRPr lang="zh-CN" altLang="en-US" sz="2400" dirty="0">
              <a:latin typeface="+mj-lt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53B5ECBD-D599-49F6-9A45-3921D94FA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624" y="3584864"/>
            <a:ext cx="51435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4898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69645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Modular Primitives – Texturing Mapping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EBAFCFA-9E52-4077-B14C-02DBE94BE3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6757" y="2215343"/>
            <a:ext cx="8229600" cy="3838575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242CD0E2-EB57-44E4-853A-06ED5C0882B5}"/>
              </a:ext>
            </a:extLst>
          </p:cNvPr>
          <p:cNvSpPr/>
          <p:nvPr/>
        </p:nvSpPr>
        <p:spPr>
          <a:xfrm>
            <a:off x="224443" y="980404"/>
            <a:ext cx="105183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lt"/>
              </a:rPr>
              <a:t>Input: texture map, screen space derivatives</a:t>
            </a:r>
          </a:p>
          <a:p>
            <a:r>
              <a:rPr lang="en-US" altLang="zh-CN" sz="2400" dirty="0">
                <a:latin typeface="+mj-lt"/>
              </a:rPr>
              <a:t>Output: sampled texture with MIP-map</a:t>
            </a:r>
            <a:endParaRPr lang="zh-CN" altLang="en-US" sz="2400" dirty="0">
              <a:latin typeface="+mj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5FDA0ED-8386-4E22-86AD-2E3D558FF437}"/>
              </a:ext>
            </a:extLst>
          </p:cNvPr>
          <p:cNvSpPr/>
          <p:nvPr/>
        </p:nvSpPr>
        <p:spPr>
          <a:xfrm>
            <a:off x="396240" y="6273194"/>
            <a:ext cx="90331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https://sites.cs.ucsb.edu/~lingqi/teaching/resources/GAMES101_Lecture_09.pdf</a:t>
            </a:r>
          </a:p>
        </p:txBody>
      </p:sp>
    </p:spTree>
    <p:extLst>
      <p:ext uri="{BB962C8B-B14F-4D97-AF65-F5344CB8AC3E}">
        <p14:creationId xmlns:p14="http://schemas.microsoft.com/office/powerpoint/2010/main" val="5584297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578216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Modular Primitives – Antialiasing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5A67C06-7333-47BB-BCE9-6FBFAE1A80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038" y="1692678"/>
            <a:ext cx="10915923" cy="4192731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1686CA08-CDCE-458E-81A9-1B04134D8792}"/>
              </a:ext>
            </a:extLst>
          </p:cNvPr>
          <p:cNvSpPr/>
          <p:nvPr/>
        </p:nvSpPr>
        <p:spPr>
          <a:xfrm>
            <a:off x="224443" y="980404"/>
            <a:ext cx="105183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lt"/>
              </a:rPr>
              <a:t>Input: face index map, images </a:t>
            </a:r>
          </a:p>
          <a:p>
            <a:r>
              <a:rPr lang="en-US" altLang="zh-CN" sz="2400" dirty="0">
                <a:latin typeface="+mj-lt"/>
              </a:rPr>
              <a:t>Output: anti-aliased image </a:t>
            </a:r>
            <a:endParaRPr lang="zh-CN" alt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432164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578216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Modular Primitives – Antialiasing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9F65DB1-D094-404B-B47D-AD3BDED71E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6515" y="2386185"/>
            <a:ext cx="8378970" cy="4270155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7D73AC00-8600-45B6-B322-09086BFAC6F9}"/>
              </a:ext>
            </a:extLst>
          </p:cNvPr>
          <p:cNvSpPr/>
          <p:nvPr/>
        </p:nvSpPr>
        <p:spPr>
          <a:xfrm>
            <a:off x="224443" y="963778"/>
            <a:ext cx="1051837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lt"/>
              </a:rPr>
              <a:t>Use face index map to detect discontinuity </a:t>
            </a:r>
          </a:p>
          <a:p>
            <a:r>
              <a:rPr lang="en-US" altLang="zh-CN" sz="2400" dirty="0">
                <a:latin typeface="+mj-lt"/>
              </a:rPr>
              <a:t>Smooth out discontinuities based on a local approximation of coverage</a:t>
            </a:r>
          </a:p>
          <a:p>
            <a:r>
              <a:rPr lang="en-US" altLang="zh-CN" sz="2400" dirty="0">
                <a:latin typeface="+mj-lt"/>
              </a:rPr>
              <a:t>For horizontal pixel pairs, only consider vertically oriented edges, and vice versa.</a:t>
            </a:r>
          </a:p>
          <a:p>
            <a:r>
              <a:rPr lang="en-US" altLang="zh-CN" sz="2400" dirty="0">
                <a:latin typeface="+mj-lt"/>
              </a:rPr>
              <a:t> </a:t>
            </a:r>
            <a:endParaRPr lang="zh-CN" alt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074148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58865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Visibility Gradients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AF2CEC4A-1BE1-4693-B1F3-D136BA197A38}"/>
              </a:ext>
            </a:extLst>
          </p:cNvPr>
          <p:cNvSpPr/>
          <p:nvPr/>
        </p:nvSpPr>
        <p:spPr>
          <a:xfrm>
            <a:off x="224443" y="980404"/>
            <a:ext cx="105183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Optimize the vertex positions and colors of a cube mesh, </a:t>
            </a:r>
          </a:p>
          <a:p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starting from a semi-randomly initialized state.</a:t>
            </a:r>
            <a:endParaRPr lang="zh-CN" altLang="en-US" sz="2400" dirty="0">
              <a:latin typeface="+mj-lt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7E9B2A9-3231-4A85-AAF6-2466EBD6DD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4069" y="1811401"/>
            <a:ext cx="6093488" cy="477192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0F9A8CA-1122-4E09-8A16-9EAFD791B5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316" y="2561748"/>
            <a:ext cx="5613460" cy="226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064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54240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Texture Filtering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AF2CEC4A-1BE1-4693-B1F3-D136BA197A38}"/>
              </a:ext>
            </a:extLst>
          </p:cNvPr>
          <p:cNvSpPr/>
          <p:nvPr/>
        </p:nvSpPr>
        <p:spPr>
          <a:xfrm>
            <a:off x="224443" y="980404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Goals: Compare texture convergence with and without prefiltered texture sampling (MIP map)</a:t>
            </a:r>
          </a:p>
          <a:p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Exp: Fixed</a:t>
            </a:r>
            <a:r>
              <a:rPr lang="zh-CN" altLang="en-US" sz="2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Geometry, optimize texture map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BA7FF90-CC7D-44F8-B0F4-1E79370577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37281"/>
            <a:ext cx="12192000" cy="298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5279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54240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Texture Filtering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AF2CEC4A-1BE1-4693-B1F3-D136BA197A38}"/>
              </a:ext>
            </a:extLst>
          </p:cNvPr>
          <p:cNvSpPr/>
          <p:nvPr/>
        </p:nvSpPr>
        <p:spPr>
          <a:xfrm>
            <a:off x="224443" y="980404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Goals: Compare texture convergence with and without prefiltered texture sampling (MIP map)</a:t>
            </a:r>
          </a:p>
          <a:p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Exp: Fixed</a:t>
            </a:r>
            <a:r>
              <a:rPr lang="zh-CN" altLang="en-US" sz="2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Geometry, optimize texture map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E2EDD02-6ED0-472E-B824-668C3BF9F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1834" y="705559"/>
            <a:ext cx="5568748" cy="615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1261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91750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Indirect Texturing, BRDF Optimization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169211A-A4E1-4C71-9DA6-DD624D3428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7073" y="1171278"/>
            <a:ext cx="6512420" cy="5459908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38081D75-5D10-49BB-8A24-982811B4F42D}"/>
              </a:ext>
            </a:extLst>
          </p:cNvPr>
          <p:cNvSpPr/>
          <p:nvPr/>
        </p:nvSpPr>
        <p:spPr>
          <a:xfrm>
            <a:off x="224443" y="980404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Optimize Environment map and BRDF parameters based on reflections from object with know geometry and pose</a:t>
            </a:r>
          </a:p>
        </p:txBody>
      </p:sp>
    </p:spTree>
    <p:extLst>
      <p:ext uri="{BB962C8B-B14F-4D97-AF65-F5344CB8AC3E}">
        <p14:creationId xmlns:p14="http://schemas.microsoft.com/office/powerpoint/2010/main" val="2397772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20088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Motivation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13314" name="Picture 2" descr="https://camo.githubusercontent.com/e19700c18b10511c107d1098d71874f0485d4f480a8d102ce4cf009b5b6a452b/68747470733a2f2f73746f726167652e676f6f676c65617069732e636f6d2f74656e736f72666c6f772d67726170686963732f6769742f726561646d652f63765f67726170686963732e6a7067">
            <a:extLst>
              <a:ext uri="{FF2B5EF4-FFF2-40B4-BE49-F238E27FC236}">
                <a16:creationId xmlns:a16="http://schemas.microsoft.com/office/drawing/2014/main" id="{7E686517-3D92-4F27-B739-5871277651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975" y="918489"/>
            <a:ext cx="9024852" cy="5337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8723AD06-6B44-4373-88D2-9B7C3DA07519}"/>
              </a:ext>
            </a:extLst>
          </p:cNvPr>
          <p:cNvSpPr/>
          <p:nvPr/>
        </p:nvSpPr>
        <p:spPr>
          <a:xfrm>
            <a:off x="224443" y="6322414"/>
            <a:ext cx="37689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github.com/tensorflow/graphics</a:t>
            </a:r>
          </a:p>
        </p:txBody>
      </p:sp>
    </p:spTree>
    <p:extLst>
      <p:ext uri="{BB962C8B-B14F-4D97-AF65-F5344CB8AC3E}">
        <p14:creationId xmlns:p14="http://schemas.microsoft.com/office/powerpoint/2010/main" val="3553200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57134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Pose Optimization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8081D75-5D10-49BB-8A24-982811B4F42D}"/>
              </a:ext>
            </a:extLst>
          </p:cNvPr>
          <p:cNvSpPr/>
          <p:nvPr/>
        </p:nvSpPr>
        <p:spPr>
          <a:xfrm>
            <a:off x="224443" y="980404"/>
            <a:ext cx="12192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Optimize pose of a rendered cube with image-space loss</a:t>
            </a:r>
          </a:p>
          <a:p>
            <a:endParaRPr lang="en-US" altLang="zh-CN" sz="2400" dirty="0">
              <a:solidFill>
                <a:srgbClr val="000000"/>
              </a:solidFill>
              <a:latin typeface="+mj-lt"/>
            </a:endParaRPr>
          </a:p>
          <a:p>
            <a:r>
              <a:rPr lang="en-US" altLang="zh-CN" sz="2400" dirty="0">
                <a:solidFill>
                  <a:srgbClr val="000000"/>
                </a:solidFill>
                <a:latin typeface="+mj-lt"/>
              </a:rPr>
              <a:t>Random noise in optimize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E4BCF55-A2A3-41BB-906F-15EF0EB408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5233" y="1393106"/>
            <a:ext cx="7720066" cy="5406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0378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71593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Performance (Render time)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C76A0C8-625B-44EE-BB72-D8BA719E39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1955"/>
            <a:ext cx="12192000" cy="5375723"/>
          </a:xfrm>
          <a:prstGeom prst="rect">
            <a:avLst/>
          </a:prstGeom>
        </p:spPr>
      </p:pic>
      <p:sp>
        <p:nvSpPr>
          <p:cNvPr id="5" name="矩形: 圆角 4">
            <a:extLst>
              <a:ext uri="{FF2B5EF4-FFF2-40B4-BE49-F238E27FC236}">
                <a16:creationId xmlns:a16="http://schemas.microsoft.com/office/drawing/2014/main" id="{A2C40ADC-EB8B-48D1-8972-D95850029BD9}"/>
              </a:ext>
            </a:extLst>
          </p:cNvPr>
          <p:cNvSpPr/>
          <p:nvPr/>
        </p:nvSpPr>
        <p:spPr>
          <a:xfrm>
            <a:off x="10972800" y="1413164"/>
            <a:ext cx="1130531" cy="498763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02511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71593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Performance (Render time)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A04661C-AA2D-45C4-85BA-8F3F242973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4081" y="771926"/>
            <a:ext cx="6410325" cy="5934075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A9170CFD-14FC-4218-A13E-509F793A416B}"/>
              </a:ext>
            </a:extLst>
          </p:cNvPr>
          <p:cNvSpPr/>
          <p:nvPr/>
        </p:nvSpPr>
        <p:spPr>
          <a:xfrm>
            <a:off x="363472" y="1052545"/>
            <a:ext cx="346120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/>
              <a:t>SoftRas</a:t>
            </a:r>
            <a:r>
              <a:rPr lang="en-US" altLang="zh-CN" dirty="0"/>
              <a:t>: for pixel in pixels</a:t>
            </a:r>
          </a:p>
          <a:p>
            <a:r>
              <a:rPr lang="en-US" altLang="zh-CN" dirty="0"/>
              <a:t>                    for triangle in triangles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C369BC0-98ED-40FF-9751-C23E621B9151}"/>
              </a:ext>
            </a:extLst>
          </p:cNvPr>
          <p:cNvSpPr/>
          <p:nvPr/>
        </p:nvSpPr>
        <p:spPr>
          <a:xfrm>
            <a:off x="363472" y="2108457"/>
            <a:ext cx="4063933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Pytorch3D: for patch in patches</a:t>
            </a:r>
          </a:p>
          <a:p>
            <a:r>
              <a:rPr lang="en-US" altLang="zh-CN" dirty="0"/>
              <a:t>                        for triangle in triangles</a:t>
            </a:r>
          </a:p>
          <a:p>
            <a:r>
              <a:rPr lang="en-US" altLang="zh-CN" dirty="0"/>
              <a:t>                             save </a:t>
            </a:r>
            <a:r>
              <a:rPr lang="en-US" altLang="zh-CN" dirty="0" err="1"/>
              <a:t>faceid</a:t>
            </a:r>
            <a:r>
              <a:rPr lang="en-US" altLang="zh-CN" dirty="0"/>
              <a:t> in sub patch</a:t>
            </a:r>
          </a:p>
          <a:p>
            <a:endParaRPr lang="en-US" altLang="zh-CN" dirty="0"/>
          </a:p>
          <a:p>
            <a:r>
              <a:rPr lang="en-US" altLang="zh-CN" dirty="0"/>
              <a:t>                    for pixel in pixels:</a:t>
            </a:r>
          </a:p>
          <a:p>
            <a:r>
              <a:rPr lang="en-US" altLang="zh-CN" dirty="0"/>
              <a:t>                         for triangle in patch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8667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72747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Facial Performance Capture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9170CFD-14FC-4218-A13E-509F793A416B}"/>
              </a:ext>
            </a:extLst>
          </p:cNvPr>
          <p:cNvSpPr/>
          <p:nvPr/>
        </p:nvSpPr>
        <p:spPr>
          <a:xfrm>
            <a:off x="363472" y="1052545"/>
            <a:ext cx="683392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/>
              <a:t>Given: multi-views images of a sequence</a:t>
            </a:r>
          </a:p>
          <a:p>
            <a:r>
              <a:rPr lang="en-US" altLang="zh-CN" sz="2400" dirty="0"/>
              <a:t>Goals: estimate texture and per-frame deformation</a:t>
            </a:r>
          </a:p>
          <a:p>
            <a:r>
              <a:rPr lang="en-US" altLang="zh-CN" sz="2400" dirty="0"/>
              <a:t>Loss: reconstruction loss and Laplacian regularization</a:t>
            </a:r>
            <a:endParaRPr lang="zh-CN" altLang="en-US" sz="2400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E12B04B-0CD3-4A7E-8A34-A5A778C548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18296"/>
            <a:ext cx="12192000" cy="3772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5153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72747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Facial Performance Capture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9170CFD-14FC-4218-A13E-509F793A416B}"/>
              </a:ext>
            </a:extLst>
          </p:cNvPr>
          <p:cNvSpPr/>
          <p:nvPr/>
        </p:nvSpPr>
        <p:spPr>
          <a:xfrm>
            <a:off x="363472" y="1052545"/>
            <a:ext cx="697017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/>
              <a:t>Given: multi-views images of a sequence</a:t>
            </a:r>
          </a:p>
          <a:p>
            <a:r>
              <a:rPr lang="en-US" altLang="zh-CN" sz="2400" dirty="0"/>
              <a:t>Goals: estimate texture and per-frame deformation</a:t>
            </a:r>
          </a:p>
          <a:p>
            <a:r>
              <a:rPr lang="en-US" altLang="zh-CN" sz="2400" dirty="0"/>
              <a:t>Loss: reconstruction loss and Laplacian </a:t>
            </a:r>
            <a:r>
              <a:rPr lang="en-US" altLang="zh-CN" sz="2400" dirty="0" err="1"/>
              <a:t>regualarization</a:t>
            </a:r>
            <a:endParaRPr lang="zh-CN" altLang="en-US" sz="2400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CED9933-55A1-46DA-825F-4C6E57FFC0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740" y="0"/>
            <a:ext cx="62645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406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72747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Experiments – Facial Performance Capture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405611-5BD8-4000-A543-31F29FD1F84A}"/>
              </a:ext>
            </a:extLst>
          </p:cNvPr>
          <p:cNvSpPr/>
          <p:nvPr/>
        </p:nvSpPr>
        <p:spPr>
          <a:xfrm>
            <a:off x="363472" y="6336669"/>
            <a:ext cx="3335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nvlabs.github.io/nvdiffrast/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9170CFD-14FC-4218-A13E-509F793A416B}"/>
              </a:ext>
            </a:extLst>
          </p:cNvPr>
          <p:cNvSpPr/>
          <p:nvPr/>
        </p:nvSpPr>
        <p:spPr>
          <a:xfrm>
            <a:off x="363472" y="1052545"/>
            <a:ext cx="6970178" cy="19389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/>
              <a:t>Given: multi-views images of a sequence</a:t>
            </a:r>
          </a:p>
          <a:p>
            <a:r>
              <a:rPr lang="en-US" altLang="zh-CN" sz="2400" dirty="0"/>
              <a:t>Goals: estimate texture and per-frame deformation</a:t>
            </a:r>
          </a:p>
          <a:p>
            <a:r>
              <a:rPr lang="en-US" altLang="zh-CN" sz="2400" dirty="0"/>
              <a:t>Loss: reconstruction loss and Laplacian </a:t>
            </a:r>
            <a:r>
              <a:rPr lang="en-US" altLang="zh-CN" sz="2400" dirty="0" err="1"/>
              <a:t>regualarization</a:t>
            </a:r>
            <a:endParaRPr lang="en-US" altLang="zh-CN" sz="2400" dirty="0"/>
          </a:p>
          <a:p>
            <a:endParaRPr lang="en-US" altLang="zh-CN" sz="2400" dirty="0"/>
          </a:p>
          <a:p>
            <a:r>
              <a:rPr lang="en-US" altLang="zh-CN" sz="2400" dirty="0"/>
              <a:t>Estimate rigid transformation between sequence</a:t>
            </a:r>
            <a:endParaRPr lang="zh-CN" altLang="en-US" sz="24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86F2922-5107-4C48-A524-36D89ABD2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5615" y="819573"/>
            <a:ext cx="5716385" cy="6031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07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20088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Motivation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13A0ED2-3DD6-44C0-AEE4-B494820276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6315" y="1626177"/>
            <a:ext cx="9467850" cy="285750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6B43B3FA-283E-4BB3-8754-CF0F20B14DD7}"/>
              </a:ext>
            </a:extLst>
          </p:cNvPr>
          <p:cNvSpPr txBox="1"/>
          <p:nvPr/>
        </p:nvSpPr>
        <p:spPr>
          <a:xfrm>
            <a:off x="278650" y="4882115"/>
            <a:ext cx="119133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/>
              <a:t>Make use of real-time graphics systems with modular primitives.</a:t>
            </a:r>
            <a:endParaRPr lang="zh-CN" alt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2762087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24366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Related Work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7CFC9E0-3098-4923-AB13-BB867AB9D6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115" y="961938"/>
            <a:ext cx="10020558" cy="5172854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E18B55FE-0DCE-4630-979B-D98B3D6332C0}"/>
              </a:ext>
            </a:extLst>
          </p:cNvPr>
          <p:cNvSpPr txBox="1"/>
          <p:nvPr/>
        </p:nvSpPr>
        <p:spPr>
          <a:xfrm>
            <a:off x="734290" y="6084434"/>
            <a:ext cx="3438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lobal Illuminat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31750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24366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Related Work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18B55FE-0DCE-4630-979B-D98B3D6332C0}"/>
              </a:ext>
            </a:extLst>
          </p:cNvPr>
          <p:cNvSpPr txBox="1"/>
          <p:nvPr/>
        </p:nvSpPr>
        <p:spPr>
          <a:xfrm>
            <a:off x="385153" y="988731"/>
            <a:ext cx="11078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Neural Mesh Renderer: hard designed approximate gradient, not correct, not scalable</a:t>
            </a:r>
            <a:endParaRPr lang="zh-CN" altLang="en-US" sz="2400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6DF53DD-75D7-4260-970B-99D4465E1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154" y="1574195"/>
            <a:ext cx="10238509" cy="457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00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24366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Related Work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18B55FE-0DCE-4630-979B-D98B3D6332C0}"/>
              </a:ext>
            </a:extLst>
          </p:cNvPr>
          <p:cNvSpPr txBox="1"/>
          <p:nvPr/>
        </p:nvSpPr>
        <p:spPr>
          <a:xfrm>
            <a:off x="385153" y="988731"/>
            <a:ext cx="115768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Soft Rasterizer: gradients are affected by all faces regardless of occlusions, not scalable</a:t>
            </a:r>
            <a:endParaRPr lang="zh-CN" altLang="en-US" sz="24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5358B39-FC9B-4A48-BCE0-5A4242CBA7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0315"/>
          <a:stretch/>
        </p:blipFill>
        <p:spPr>
          <a:xfrm>
            <a:off x="1532745" y="1513530"/>
            <a:ext cx="7486564" cy="519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3552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24366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Related Work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18B55FE-0DCE-4630-979B-D98B3D6332C0}"/>
              </a:ext>
            </a:extLst>
          </p:cNvPr>
          <p:cNvSpPr txBox="1"/>
          <p:nvPr/>
        </p:nvSpPr>
        <p:spPr>
          <a:xfrm>
            <a:off x="385153" y="988731"/>
            <a:ext cx="115768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Pytorch3D: similar with Soft-Rasterizer, </a:t>
            </a:r>
          </a:p>
          <a:p>
            <a:r>
              <a:rPr lang="en-US" altLang="zh-CN" sz="2400" dirty="0"/>
              <a:t>                   but with coarse to fine rasterization, also support point cloud rasterization,</a:t>
            </a:r>
          </a:p>
          <a:p>
            <a:r>
              <a:rPr lang="en-US" altLang="zh-CN" sz="2400" dirty="0"/>
              <a:t>                   also not scalable.</a:t>
            </a:r>
            <a:endParaRPr lang="zh-CN" altLang="en-US" sz="2400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144B3F6-CFA8-43CB-AC98-A8BBF6A7C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86277"/>
            <a:ext cx="12192000" cy="4451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9099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43746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This Work- Design Goals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D4C5E76B-49BB-4B9A-8F4B-BBD82C1975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738"/>
          <a:stretch/>
        </p:blipFill>
        <p:spPr>
          <a:xfrm>
            <a:off x="889461" y="1113905"/>
            <a:ext cx="9285207" cy="5345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4248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FD91893-D862-4902-A0D0-1866475FDFD3}"/>
              </a:ext>
            </a:extLst>
          </p:cNvPr>
          <p:cNvSpPr txBox="1"/>
          <p:nvPr/>
        </p:nvSpPr>
        <p:spPr>
          <a:xfrm>
            <a:off x="224443" y="58189"/>
            <a:ext cx="47962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This Work – System Design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33C1E93-577A-4719-8252-99AD80A8B088}"/>
              </a:ext>
            </a:extLst>
          </p:cNvPr>
          <p:cNvSpPr txBox="1"/>
          <p:nvPr/>
        </p:nvSpPr>
        <p:spPr>
          <a:xfrm>
            <a:off x="385153" y="988731"/>
            <a:ext cx="1157686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altLang="zh-CN" sz="2400" dirty="0"/>
              <a:t>Modularity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/>
              <a:t>Position and Textures are Tensors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/>
              <a:t>Operate in Clip Space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/>
              <a:t>Deferred Shading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/>
              <a:t>Image-space Antialiasing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/>
              <a:t>Triangles</a:t>
            </a:r>
          </a:p>
          <a:p>
            <a:pPr marL="457200" indent="-457200">
              <a:buFont typeface="+mj-lt"/>
              <a:buAutoNum type="arabicPeriod"/>
            </a:pP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3646966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">
      <a:majorFont>
        <a:latin typeface="Times New Roman"/>
        <a:ea typeface="Microsoft YaHei"/>
        <a:cs typeface=""/>
      </a:majorFont>
      <a:minorFont>
        <a:latin typeface="Times New Roman"/>
        <a:ea typeface="Microsoft YaHei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97</TotalTime>
  <Words>651</Words>
  <Application>Microsoft Office PowerPoint</Application>
  <PresentationFormat>宽屏</PresentationFormat>
  <Paragraphs>95</Paragraphs>
  <Slides>2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4" baseType="lpstr">
      <vt:lpstr>Microsoft JhengHei</vt:lpstr>
      <vt:lpstr>等线</vt:lpstr>
      <vt:lpstr>微软雅黑</vt:lpstr>
      <vt:lpstr>Arial</vt:lpstr>
      <vt:lpstr>Calibri</vt:lpstr>
      <vt:lpstr>Times New Roman</vt:lpstr>
      <vt:lpstr>Wingdings</vt:lpstr>
      <vt:lpstr>1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botics X 项目汇报</dc:title>
  <dc:creator>Zhengyou Zhang</dc:creator>
  <cp:lastModifiedBy>zehaoyu(余泽浩)</cp:lastModifiedBy>
  <cp:revision>1586</cp:revision>
  <dcterms:created xsi:type="dcterms:W3CDTF">2015-05-05T08:02:00Z</dcterms:created>
  <dcterms:modified xsi:type="dcterms:W3CDTF">2021-01-05T12:3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513</vt:lpwstr>
  </property>
</Properties>
</file>